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4" r:id="rId1"/>
  </p:sldMasterIdLst>
  <p:notesMasterIdLst>
    <p:notesMasterId r:id="rId15"/>
  </p:notesMasterIdLst>
  <p:handoutMasterIdLst>
    <p:handoutMasterId r:id="rId16"/>
  </p:handoutMasterIdLst>
  <p:sldIdLst>
    <p:sldId id="2757" r:id="rId2"/>
    <p:sldId id="2758" r:id="rId3"/>
    <p:sldId id="4482" r:id="rId4"/>
    <p:sldId id="4344" r:id="rId5"/>
    <p:sldId id="4503" r:id="rId6"/>
    <p:sldId id="4494" r:id="rId7"/>
    <p:sldId id="4345" r:id="rId8"/>
    <p:sldId id="4495" r:id="rId9"/>
    <p:sldId id="4504" r:id="rId10"/>
    <p:sldId id="4505" r:id="rId11"/>
    <p:sldId id="4498" r:id="rId12"/>
    <p:sldId id="4501" r:id="rId13"/>
    <p:sldId id="4456" r:id="rId14"/>
  </p:sldIdLst>
  <p:sldSz cx="10080625" cy="7559675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21" userDrawn="1">
          <p15:clr>
            <a:srgbClr val="A4A3A4"/>
          </p15:clr>
        </p15:guide>
        <p15:guide id="2" pos="3062" userDrawn="1">
          <p15:clr>
            <a:srgbClr val="A4A3A4"/>
          </p15:clr>
        </p15:guide>
        <p15:guide id="3" pos="32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E2F7"/>
    <a:srgbClr val="8DFF38"/>
    <a:srgbClr val="FDF02A"/>
    <a:srgbClr val="FF6C14"/>
    <a:srgbClr val="008C44"/>
    <a:srgbClr val="E9EAEB"/>
    <a:srgbClr val="158C44"/>
    <a:srgbClr val="A9B6DB"/>
    <a:srgbClr val="DDBDBD"/>
    <a:srgbClr val="B2DA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575" autoAdjust="0"/>
    <p:restoredTop sz="96208"/>
  </p:normalViewPr>
  <p:slideViewPr>
    <p:cSldViewPr snapToGrid="0" showGuides="1">
      <p:cViewPr varScale="1">
        <p:scale>
          <a:sx n="103" d="100"/>
          <a:sy n="103" d="100"/>
        </p:scale>
        <p:origin x="1008" y="184"/>
      </p:cViewPr>
      <p:guideLst>
        <p:guide orient="horz" pos="2721"/>
        <p:guide pos="3062"/>
        <p:guide pos="32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283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2.9082774049217001E-2"/>
          <c:w val="0.96069538926681786"/>
          <c:h val="0.941834451901566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6323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505A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D77-7141-A2A9-DBCB432DB466}"/>
              </c:ext>
            </c:extLst>
          </c:dPt>
          <c:dPt>
            <c:idx val="2"/>
            <c:invertIfNegative val="0"/>
            <c:bubble3D val="0"/>
            <c:spPr>
              <a:solidFill>
                <a:srgbClr val="A8ADB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D77-7141-A2A9-DBCB432DB466}"/>
              </c:ext>
            </c:extLst>
          </c:dPt>
          <c:dPt>
            <c:idx val="3"/>
            <c:invertIfNegative val="0"/>
            <c:bubble3D val="0"/>
            <c:spPr>
              <a:solidFill>
                <a:srgbClr val="D3D6D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D77-7141-A2A9-DBCB432DB466}"/>
              </c:ext>
            </c:extLst>
          </c:dPt>
          <c:dPt>
            <c:idx val="4"/>
            <c:invertIfNegative val="0"/>
            <c:bubble3D val="0"/>
            <c:spPr>
              <a:solidFill>
                <a:srgbClr val="008D4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D77-7141-A2A9-DBCB432DB466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410860</c:v>
                </c:pt>
                <c:pt idx="1">
                  <c:v>583728</c:v>
                </c:pt>
                <c:pt idx="2">
                  <c:v>353095</c:v>
                </c:pt>
                <c:pt idx="3">
                  <c:v>170942</c:v>
                </c:pt>
                <c:pt idx="4">
                  <c:v>3887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77-7141-A2A9-DBCB432DB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7916560"/>
        <c:axId val="1"/>
      </c:barChart>
      <c:catAx>
        <c:axId val="377916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26323E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37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77916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89869B9-8F9A-4E2F-97A7-BBB6E7653C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CE9455A-2807-41DB-B96E-B134846FF1D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F1A8-A4AE-4985-A3D2-DE1CAA286044}" type="datetimeFigureOut">
              <a:rPr lang="en-US" smtClean="0"/>
              <a:t>11/19/20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810F87-CBD0-49F4-B4A3-25DF31A79BB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5260D1-CA9B-4BAB-A91F-987BBC9BEB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3CBE9-6025-4B00-99DB-0BF513B2C6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0320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74FBA1-612A-436C-97D6-C85567C1ABD4}" type="datetimeFigureOut">
              <a:rPr lang="en-GB" smtClean="0"/>
              <a:t>19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5A2F16-1DC4-4357-A21E-A002D6F1BB3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5518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1pPr>
    <a:lvl2pPr marL="503972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2pPr>
    <a:lvl3pPr marL="1007943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3pPr>
    <a:lvl4pPr marL="1511915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4pPr>
    <a:lvl5pPr marL="2015886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5pPr>
    <a:lvl6pPr marL="2519858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6pPr>
    <a:lvl7pPr marL="3023829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7pPr>
    <a:lvl8pPr marL="3527801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8pPr>
    <a:lvl9pPr marL="4031772" algn="l" defTabSz="1007943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A2F16-1DC4-4357-A21E-A002D6F1BB3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560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A2F16-1DC4-4357-A21E-A002D6F1BB34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7524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altLang="fr-FR" dirty="0"/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2014" indent="-28923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6945" indent="-23138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9722" indent="-23138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82500" indent="-23138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45278" indent="-2313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8056" indent="-2313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70834" indent="-2313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33612" indent="-2313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0083C45-CDA8-4F5E-9901-9F69FC422E87}" type="slidenum">
              <a:rPr lang="fr-FR" altLang="fr-FR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458255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3DF2A00-0531-4EA3-8B44-78547525DC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01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22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090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92864" y="259123"/>
            <a:ext cx="9694899" cy="330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5834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lid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586831"/>
            <a:ext cx="9360625" cy="1646605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GB" dirty="0"/>
              <a:t>Master text</a:t>
            </a:r>
          </a:p>
          <a:p>
            <a:pPr lvl="1"/>
            <a:r>
              <a:rPr lang="en-GB" dirty="0"/>
              <a:t>First Bullet</a:t>
            </a:r>
          </a:p>
          <a:p>
            <a:pPr lvl="2"/>
            <a:r>
              <a:rPr lang="en-GB" dirty="0"/>
              <a:t>Second Bullet</a:t>
            </a:r>
          </a:p>
          <a:p>
            <a:pPr lvl="3"/>
            <a:r>
              <a:rPr lang="en-GB" dirty="0"/>
              <a:t>Third Bullet</a:t>
            </a:r>
          </a:p>
          <a:p>
            <a:pPr lvl="4"/>
            <a:r>
              <a:rPr lang="en-GB" dirty="0"/>
              <a:t>Fourth Bulle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6875" y="238408"/>
            <a:ext cx="433749" cy="153888"/>
          </a:xfrm>
        </p:spPr>
        <p:txBody>
          <a:bodyPr/>
          <a:lstStyle/>
          <a:p>
            <a:fld id="{856BE26F-5005-427F-A945-681CE80C1FFC}" type="slidenum">
              <a:rPr lang="en-GB" smtClean="0"/>
              <a:t>‹#›</a:t>
            </a:fld>
            <a:endParaRPr lang="en-GB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</p:spPr>
        <p:txBody>
          <a:bodyPr wrap="square">
            <a:noAutofit/>
          </a:bodyPr>
          <a:lstStyle>
            <a:lvl1pPr>
              <a:defRPr sz="1300"/>
            </a:lvl1pPr>
          </a:lstStyle>
          <a:p>
            <a:pPr lvl="0"/>
            <a:r>
              <a:rPr lang="en-GB" dirty="0"/>
              <a:t>Section heading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01FBF4A-3C04-4A20-A84A-50383E8574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6921016"/>
            <a:ext cx="9359899" cy="135422"/>
          </a:xfrm>
        </p:spPr>
        <p:txBody>
          <a:bodyPr anchor="b" anchorCtr="0"/>
          <a:lstStyle>
            <a:lvl1pPr>
              <a:tabLst>
                <a:tab pos="114300" algn="l"/>
              </a:tabLst>
              <a:defRPr sz="800"/>
            </a:lvl1pPr>
          </a:lstStyle>
          <a:p>
            <a:pPr lvl="0"/>
            <a:r>
              <a:rPr lang="en-GB" dirty="0"/>
              <a:t>Source / Footnote</a:t>
            </a:r>
          </a:p>
        </p:txBody>
      </p:sp>
    </p:spTree>
    <p:extLst>
      <p:ext uri="{BB962C8B-B14F-4D97-AF65-F5344CB8AC3E}">
        <p14:creationId xmlns:p14="http://schemas.microsoft.com/office/powerpoint/2010/main" val="25064902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51597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0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AAE844-4B4D-481A-94D7-1A12AAA830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baseline="0" dirty="0">
              <a:latin typeface="Axiforma ExtraBold" panose="00000900000000000000" pitchFamily="50" charset="0"/>
              <a:sym typeface="Axiforma ExtraBold" panose="000009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589387"/>
            <a:ext cx="8694537" cy="6428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lide headin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00"/>
            </a:lvl1pPr>
          </a:lstStyle>
          <a:p>
            <a:pPr lvl="0"/>
            <a:r>
              <a:rPr lang="en-GB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459148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lid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637" y="1940390"/>
            <a:ext cx="9360625" cy="1646605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buClr>
                <a:srgbClr val="008C44"/>
              </a:buClr>
              <a:defRPr/>
            </a:lvl2pPr>
            <a:lvl3pPr>
              <a:spcBef>
                <a:spcPts val="900"/>
              </a:spcBef>
              <a:buClr>
                <a:srgbClr val="008C44"/>
              </a:buClr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GB" dirty="0"/>
              <a:t>Master text</a:t>
            </a:r>
          </a:p>
          <a:p>
            <a:pPr lvl="1"/>
            <a:r>
              <a:rPr lang="en-GB" dirty="0"/>
              <a:t>First Bullet</a:t>
            </a:r>
          </a:p>
          <a:p>
            <a:pPr lvl="2"/>
            <a:r>
              <a:rPr lang="en-GB" dirty="0"/>
              <a:t>Second Bullet</a:t>
            </a:r>
          </a:p>
          <a:p>
            <a:pPr lvl="3"/>
            <a:r>
              <a:rPr lang="en-GB" dirty="0"/>
              <a:t>Third Bullet</a:t>
            </a:r>
          </a:p>
          <a:p>
            <a:pPr lvl="4"/>
            <a:r>
              <a:rPr lang="en-GB" dirty="0"/>
              <a:t>Fourth Bullet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513986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2B36890-3525-441B-927A-0D36C505B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01FBF4A-3C04-4A20-A84A-50383E8574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6921016"/>
            <a:ext cx="9359899" cy="135422"/>
          </a:xfrm>
          <a:prstGeom prst="rect">
            <a:avLst/>
          </a:prstGeom>
        </p:spPr>
        <p:txBody>
          <a:bodyPr anchor="b" anchorCtr="0"/>
          <a:lstStyle>
            <a:lvl1pPr>
              <a:tabLst>
                <a:tab pos="114300" algn="l"/>
              </a:tabLst>
              <a:defRPr sz="800"/>
            </a:lvl1pPr>
          </a:lstStyle>
          <a:p>
            <a:pPr lvl="0"/>
            <a:r>
              <a:rPr lang="en-GB" dirty="0"/>
              <a:t>Source / Footnot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401A05D-E76E-4B4F-91F0-B82A4E32865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59637" y="1461952"/>
            <a:ext cx="9360625" cy="249812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defRPr sz="1600" b="1"/>
            </a:lvl1pPr>
            <a:lvl2pPr>
              <a:spcBef>
                <a:spcPts val="900"/>
              </a:spcBef>
              <a:buClr>
                <a:srgbClr val="008C44"/>
              </a:buClr>
              <a:defRPr/>
            </a:lvl2pPr>
            <a:lvl3pPr>
              <a:spcBef>
                <a:spcPts val="900"/>
              </a:spcBef>
              <a:buClr>
                <a:srgbClr val="008C44"/>
              </a:buClr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30302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ection divider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309296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8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2717321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nk-cell agend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997774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 heading</a:t>
            </a:r>
          </a:p>
        </p:txBody>
      </p:sp>
    </p:spTree>
    <p:extLst>
      <p:ext uri="{BB962C8B-B14F-4D97-AF65-F5344CB8AC3E}">
        <p14:creationId xmlns:p14="http://schemas.microsoft.com/office/powerpoint/2010/main" val="3115791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Aqua">
    <p:bg>
      <p:bgPr>
        <a:solidFill>
          <a:srgbClr val="008C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lid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576704"/>
            <a:ext cx="9360625" cy="406265"/>
          </a:xfrm>
          <a:prstGeom prst="rect">
            <a:avLst/>
          </a:prstGeom>
        </p:spPr>
        <p:txBody>
          <a:bodyPr anchor="ctr" anchorCtr="0"/>
          <a:lstStyle>
            <a:lvl1pPr algn="ctr">
              <a:spcBef>
                <a:spcPts val="900"/>
              </a:spcBef>
              <a:defRPr sz="24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900"/>
              </a:spcBef>
              <a:defRPr sz="2600">
                <a:latin typeface="+mj-lt"/>
              </a:defRPr>
            </a:lvl2pPr>
            <a:lvl3pPr algn="ctr">
              <a:spcBef>
                <a:spcPts val="900"/>
              </a:spcBef>
              <a:defRPr sz="2600">
                <a:latin typeface="+mj-lt"/>
              </a:defRPr>
            </a:lvl3pPr>
            <a:lvl4pPr algn="ctr">
              <a:spcBef>
                <a:spcPts val="900"/>
              </a:spcBef>
              <a:defRPr sz="2600">
                <a:latin typeface="+mj-lt"/>
              </a:defRPr>
            </a:lvl4pPr>
            <a:lvl5pPr algn="ctr">
              <a:spcBef>
                <a:spcPts val="900"/>
              </a:spcBef>
              <a:defRPr sz="2600">
                <a:latin typeface="+mj-lt"/>
              </a:defRPr>
            </a:lvl5pPr>
          </a:lstStyle>
          <a:p>
            <a:pPr lvl="0"/>
            <a:r>
              <a:rPr lang="en-GB" dirty="0"/>
              <a:t>Bold key message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950260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746771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lid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576704"/>
            <a:ext cx="9360625" cy="40626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algn="ctr">
              <a:spcBef>
                <a:spcPts val="900"/>
              </a:spcBef>
              <a:defRPr sz="24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900"/>
              </a:spcBef>
              <a:defRPr sz="2600">
                <a:latin typeface="+mj-lt"/>
              </a:defRPr>
            </a:lvl2pPr>
            <a:lvl3pPr algn="ctr">
              <a:spcBef>
                <a:spcPts val="900"/>
              </a:spcBef>
              <a:defRPr sz="2600">
                <a:latin typeface="+mj-lt"/>
              </a:defRPr>
            </a:lvl3pPr>
            <a:lvl4pPr algn="ctr">
              <a:spcBef>
                <a:spcPts val="900"/>
              </a:spcBef>
              <a:defRPr sz="2600">
                <a:latin typeface="+mj-lt"/>
              </a:defRPr>
            </a:lvl4pPr>
            <a:lvl5pPr algn="ctr">
              <a:spcBef>
                <a:spcPts val="900"/>
              </a:spcBef>
              <a:defRPr sz="2600">
                <a:latin typeface="+mj-lt"/>
              </a:defRPr>
            </a:lvl5pPr>
          </a:lstStyle>
          <a:p>
            <a:pPr lvl="0"/>
            <a:r>
              <a:rPr lang="en-GB" dirty="0"/>
              <a:t>Bold key message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95B1E2-6CF0-4D5D-9D07-B53ED7586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056189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7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95B1E2-6CF0-4D5D-9D07-B53ED7586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6A4BF-CF69-4C7C-9F1A-32C4B7FF4C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1" y="196352"/>
            <a:ext cx="8694538" cy="22006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4262251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userDrawn="1">
  <p:cSld name="1_Titre et contenu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475B43-00CA-4C92-B3D0-F33EE56A8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3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475B43-00CA-4C92-B3D0-F33EE56A8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14">
            <a:extLst>
              <a:ext uri="{FF2B5EF4-FFF2-40B4-BE49-F238E27FC236}">
                <a16:creationId xmlns:a16="http://schemas.microsoft.com/office/drawing/2014/main" id="{7C5FF328-98E2-4C85-9CA0-6535212F16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028685" y="7271102"/>
            <a:ext cx="1043393" cy="20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3A8F720-1885-8149-ABF8-0E79D6420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589387"/>
            <a:ext cx="8694539" cy="4683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GB" noProof="0" dirty="0"/>
              <a:t>Slide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47215B2-BCF6-3241-8FBA-2E3034194D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586831"/>
            <a:ext cx="9360625" cy="1646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2pPr>
              <a:buClr>
                <a:srgbClr val="008C44"/>
              </a:buClr>
              <a:defRPr/>
            </a:lvl2pPr>
            <a:lvl3pPr>
              <a:buClr>
                <a:srgbClr val="008C44"/>
              </a:buClr>
              <a:defRPr/>
            </a:lvl3pPr>
          </a:lstStyle>
          <a:p>
            <a:pPr lvl="0"/>
            <a:r>
              <a:rPr lang="en-GB" dirty="0"/>
              <a:t>Master text</a:t>
            </a:r>
          </a:p>
          <a:p>
            <a:pPr lvl="1"/>
            <a:r>
              <a:rPr lang="en-GB" dirty="0"/>
              <a:t>First bullet</a:t>
            </a:r>
          </a:p>
          <a:p>
            <a:pPr lvl="2"/>
            <a:r>
              <a:rPr lang="en-GB" dirty="0"/>
              <a:t>Second bullet</a:t>
            </a:r>
          </a:p>
          <a:p>
            <a:pPr lvl="3"/>
            <a:r>
              <a:rPr lang="en-GB" dirty="0"/>
              <a:t>Third bullet</a:t>
            </a:r>
          </a:p>
          <a:p>
            <a:pPr lvl="4"/>
            <a:r>
              <a:rPr lang="en-GB" dirty="0"/>
              <a:t>Fourth bullet</a:t>
            </a:r>
          </a:p>
        </p:txBody>
      </p:sp>
    </p:spTree>
    <p:extLst>
      <p:ext uri="{BB962C8B-B14F-4D97-AF65-F5344CB8AC3E}">
        <p14:creationId xmlns:p14="http://schemas.microsoft.com/office/powerpoint/2010/main" val="4018994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userDrawn="1">
  <p:cSld name="1_Titre et contenu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475B43-00CA-4C92-B3D0-F33EE56A8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5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475B43-00CA-4C92-B3D0-F33EE56A8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14">
            <a:extLst>
              <a:ext uri="{FF2B5EF4-FFF2-40B4-BE49-F238E27FC236}">
                <a16:creationId xmlns:a16="http://schemas.microsoft.com/office/drawing/2014/main" id="{7C5FF328-98E2-4C85-9CA0-6535212F16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028685" y="7271102"/>
            <a:ext cx="1043393" cy="201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32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3A8F720-1885-8149-ABF8-0E79D6420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1" y="589387"/>
            <a:ext cx="8694539" cy="39042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GB" noProof="0" dirty="0"/>
              <a:t>Slide heading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47215B2-BCF6-3241-8FBA-2E3034194D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830767"/>
            <a:ext cx="9360625" cy="1646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2pPr>
              <a:buClr>
                <a:srgbClr val="008C44"/>
              </a:buClr>
              <a:defRPr/>
            </a:lvl2pPr>
            <a:lvl3pPr>
              <a:buClr>
                <a:srgbClr val="008C44"/>
              </a:buClr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A347058-3D3C-9D47-9824-A6FDD2FABAC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9999" y="1400128"/>
            <a:ext cx="9360625" cy="2498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600" b="1"/>
            </a:lvl1pPr>
            <a:lvl2pPr>
              <a:buClr>
                <a:srgbClr val="008C44"/>
              </a:buClr>
              <a:defRPr/>
            </a:lvl2pPr>
            <a:lvl3pPr>
              <a:buClr>
                <a:srgbClr val="008C44"/>
              </a:buClr>
              <a:defRPr/>
            </a:lvl3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35619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54A9B2-A76D-4976-96B0-0AABF0E8C3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85967908"/>
              </p:ext>
            </p:extLst>
          </p:nvPr>
        </p:nvGraphicFramePr>
        <p:xfrm>
          <a:off x="1751" y="1751"/>
          <a:ext cx="1750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3" name="think-cell Slide" r:id="rId16" imgW="359" imgH="358" progId="TCLayout.ActiveDocument.1">
                  <p:embed/>
                </p:oleObj>
              </mc:Choice>
              <mc:Fallback>
                <p:oleObj name="think-cell Slide" r:id="rId16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67B405A-4CDA-40B7-B4F1-5EFA127EF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GB" sz="2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1" y="589387"/>
            <a:ext cx="8694539" cy="39036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GB" noProof="0" dirty="0"/>
              <a:t>Slide 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586831"/>
            <a:ext cx="9360625" cy="1646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/>
              <a:t>Master text</a:t>
            </a:r>
          </a:p>
          <a:p>
            <a:pPr lvl="1"/>
            <a:r>
              <a:rPr lang="en-GB" dirty="0"/>
              <a:t>First bullet</a:t>
            </a:r>
          </a:p>
          <a:p>
            <a:pPr lvl="2"/>
            <a:r>
              <a:rPr lang="en-GB" dirty="0"/>
              <a:t>Second bullet</a:t>
            </a:r>
          </a:p>
          <a:p>
            <a:pPr lvl="3"/>
            <a:r>
              <a:rPr lang="en-GB" dirty="0"/>
              <a:t>Third bullet</a:t>
            </a:r>
          </a:p>
          <a:p>
            <a:pPr lvl="4"/>
            <a:r>
              <a:rPr lang="en-GB" dirty="0"/>
              <a:t>Fourth bullet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36E8D609-BC22-457E-9692-83BF4A77CE8A}"/>
              </a:ext>
            </a:extLst>
          </p:cNvPr>
          <p:cNvSpPr txBox="1">
            <a:spLocks/>
          </p:cNvSpPr>
          <p:nvPr userDrawn="1"/>
        </p:nvSpPr>
        <p:spPr>
          <a:xfrm>
            <a:off x="8062329" y="7318119"/>
            <a:ext cx="1703993" cy="11176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</a:pPr>
            <a:r>
              <a:rPr lang="en-GB" sz="700" b="1" dirty="0">
                <a:solidFill>
                  <a:srgbClr val="000000"/>
                </a:solidFill>
                <a:latin typeface="Axiforma ExtraBold" panose="00000900000000000000" pitchFamily="50" charset="0"/>
              </a:rPr>
              <a:t>© Copyright 2020. All rights reserved</a:t>
            </a:r>
            <a:endParaRPr lang="en-GB" sz="700" dirty="0">
              <a:solidFill>
                <a:srgbClr val="000000"/>
              </a:solidFill>
              <a:latin typeface="Axiforma ExtraBold" panose="00000900000000000000" pitchFamily="50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E70B5217-1F8A-9248-9C79-14A9DA5B8A75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21" y="237995"/>
            <a:ext cx="661573" cy="66157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250852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3" r:id="rId2"/>
    <p:sldLayoutId id="2147483676" r:id="rId3"/>
    <p:sldLayoutId id="2147483690" r:id="rId4"/>
    <p:sldLayoutId id="2147483694" r:id="rId5"/>
    <p:sldLayoutId id="2147483691" r:id="rId6"/>
    <p:sldLayoutId id="2147483692" r:id="rId7"/>
    <p:sldLayoutId id="2147483696" r:id="rId8"/>
    <p:sldLayoutId id="2147483698" r:id="rId9"/>
    <p:sldLayoutId id="2147483699" r:id="rId10"/>
    <p:sldLayoutId id="2147483700" r:id="rId11"/>
  </p:sldLayoutIdLst>
  <p:hf sldNum="0" hdr="0" ftr="0" dt="0"/>
  <p:txStyles>
    <p:titleStyle>
      <a:lvl1pPr algn="l" defTabSz="1007943" rtl="0" eaLnBrk="1" latinLnBrk="0" hangingPunct="1">
        <a:lnSpc>
          <a:spcPct val="110000"/>
        </a:lnSpc>
        <a:spcBef>
          <a:spcPct val="0"/>
        </a:spcBef>
        <a:buNone/>
        <a:defRPr sz="2500" b="1" kern="1200">
          <a:solidFill>
            <a:srgbClr val="008C4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007943" rtl="0" eaLnBrk="1" latinLnBrk="0" hangingPunct="1">
        <a:lnSpc>
          <a:spcPct val="110000"/>
        </a:lnSpc>
        <a:spcBef>
          <a:spcPts val="900"/>
        </a:spcBef>
        <a:buFont typeface="Arial" panose="020B0604020202020204" pitchFamily="34" charset="0"/>
        <a:buNone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09550" indent="-209550" algn="l" defTabSz="1007943" rtl="0" eaLnBrk="1" latinLnBrk="0" hangingPunct="1">
        <a:lnSpc>
          <a:spcPct val="110000"/>
        </a:lnSpc>
        <a:spcBef>
          <a:spcPts val="900"/>
        </a:spcBef>
        <a:buClr>
          <a:srgbClr val="008C44"/>
        </a:buClr>
        <a:buSzPct val="140000"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44500" indent="-234950" algn="l" defTabSz="1007943" rtl="0" eaLnBrk="1" latinLnBrk="0" hangingPunct="1">
        <a:lnSpc>
          <a:spcPct val="110000"/>
        </a:lnSpc>
        <a:spcBef>
          <a:spcPts val="900"/>
        </a:spcBef>
        <a:buClr>
          <a:srgbClr val="008C44"/>
        </a:buClr>
        <a:buSzPct val="140000"/>
        <a:buFont typeface="Symbol" panose="05050102010706020507" pitchFamily="18" charset="2"/>
        <a:buChar char="-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60400" indent="-203200" algn="l" defTabSz="1007943" rtl="0" eaLnBrk="1" latinLnBrk="0" hangingPunct="1">
        <a:lnSpc>
          <a:spcPct val="110000"/>
        </a:lnSpc>
        <a:spcBef>
          <a:spcPts val="900"/>
        </a:spcBef>
        <a:buClr>
          <a:schemeClr val="accent2"/>
        </a:buClr>
        <a:buSzPct val="120000"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5350" indent="-215900" algn="l" defTabSz="1007943" rtl="0" eaLnBrk="1" latinLnBrk="0" hangingPunct="1">
        <a:lnSpc>
          <a:spcPct val="110000"/>
        </a:lnSpc>
        <a:spcBef>
          <a:spcPts val="900"/>
        </a:spcBef>
        <a:buClr>
          <a:schemeClr val="accent2"/>
        </a:buClr>
        <a:buSzPct val="140000"/>
        <a:buFont typeface="Symbol" panose="05050102010706020507" pitchFamily="18" charset="2"/>
        <a:buChar char="-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7" userDrawn="1">
          <p15:clr>
            <a:srgbClr val="F26B43"/>
          </p15:clr>
        </p15:guide>
        <p15:guide id="2" pos="6123" userDrawn="1">
          <p15:clr>
            <a:srgbClr val="F26B43"/>
          </p15:clr>
        </p15:guide>
        <p15:guide id="4" orient="horz" pos="998" userDrawn="1">
          <p15:clr>
            <a:srgbClr val="F26B43"/>
          </p15:clr>
        </p15:guide>
        <p15:guide id="5" orient="horz" pos="4445" userDrawn="1">
          <p15:clr>
            <a:srgbClr val="F26B43"/>
          </p15:clr>
        </p15:guide>
        <p15:guide id="6" orient="horz" pos="226" userDrawn="1">
          <p15:clr>
            <a:srgbClr val="F26B43"/>
          </p15:clr>
        </p15:guide>
        <p15:guide id="7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1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3.tif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7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chart" Target="../charts/chart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8.emf"/><Relationship Id="rId2" Type="http://schemas.openxmlformats.org/officeDocument/2006/relationships/tags" Target="../tags/tag17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8.xml"/><Relationship Id="rId10" Type="http://schemas.openxmlformats.org/officeDocument/2006/relationships/tags" Target="../tags/tag25.xml"/><Relationship Id="rId19" Type="http://schemas.openxmlformats.org/officeDocument/2006/relationships/image" Target="../media/image9.jpe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1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11" Type="http://schemas.microsoft.com/office/2007/relationships/hdphoto" Target="../media/hdphoto2.wdp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0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5.xml"/><Relationship Id="rId7" Type="http://schemas.openxmlformats.org/officeDocument/2006/relationships/image" Target="NUL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963CEA-CC4C-4C48-864A-86A5E71591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547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963CEA-CC4C-4C48-864A-86A5E7159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B8CC7EC-BBC0-3747-84C9-BD6DC3A498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908"/>
            <a:ext cx="10127575" cy="7574583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4E1A679-FCEF-F649-A204-D09C492AF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589387"/>
            <a:ext cx="8694539" cy="437236"/>
          </a:xfrm>
        </p:spPr>
        <p:txBody>
          <a:bodyPr vert="horz"/>
          <a:lstStyle/>
          <a:p>
            <a:r>
              <a:rPr lang="en-US" sz="2800" dirty="0">
                <a:solidFill>
                  <a:schemeClr val="tx1"/>
                </a:solidFill>
                <a:highlight>
                  <a:srgbClr val="E9EAEB"/>
                </a:highlight>
              </a:rPr>
              <a:t>GIS often branches into many different secto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9423E0-78A6-D448-95B6-078D2C24B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BE26F-5005-427F-A945-681CE80C1FF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6C1A8D-18C9-AE43-A0D2-22FE880281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879D64-0ED4-5547-922B-198F9F3C2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166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D48513-011D-3341-B38E-24BAFBD3AC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2776"/>
            <a:ext cx="10080625" cy="755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68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CED0A7-8A0A-C248-A54B-2FE8AC5C88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3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CED0A7-8A0A-C248-A54B-2FE8AC5C8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6D0E57-F46C-CA44-88E3-1133DAFC2E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500" b="1" dirty="0">
              <a:latin typeface="Arial"/>
              <a:cs typeface="Arial"/>
              <a:sym typeface="Arial"/>
            </a:endParaRP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FD23B116-0C30-214E-AD4A-A3DD6BAC3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7868"/>
            <a:ext cx="10080625" cy="7143939"/>
          </a:xfrm>
          <a:prstGeom prst="rect">
            <a:avLst/>
          </a:prstGeom>
        </p:spPr>
      </p:pic>
      <p:sp>
        <p:nvSpPr>
          <p:cNvPr id="8" name="DDDAA_20102020165954">
            <a:extLst>
              <a:ext uri="{FF2B5EF4-FFF2-40B4-BE49-F238E27FC236}">
                <a16:creationId xmlns:a16="http://schemas.microsoft.com/office/drawing/2014/main" id="{0DE69E59-FD29-7C42-BA14-C0EB22DD45EE}"/>
              </a:ext>
            </a:extLst>
          </p:cNvPr>
          <p:cNvSpPr/>
          <p:nvPr/>
        </p:nvSpPr>
        <p:spPr>
          <a:xfrm>
            <a:off x="1962029" y="5869793"/>
            <a:ext cx="5212129" cy="996033"/>
          </a:xfrm>
          <a:prstGeom prst="rect">
            <a:avLst/>
          </a:prstGeom>
          <a:solidFill>
            <a:srgbClr val="FFFF00"/>
          </a:solidFill>
          <a:ln w="127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81720" bIns="81720" rtlCol="0" anchor="t">
            <a:spAutoFit/>
          </a:bodyPr>
          <a:lstStyle/>
          <a:p>
            <a:pPr algn="ctr"/>
            <a:r>
              <a:rPr lang="en-GB" dirty="0">
                <a:solidFill>
                  <a:srgbClr val="2632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 focused on west coast of Upolu (these maps were constantly updated to show progress) = PROVIDES MORE DETA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187315-E423-134D-917D-EE99BB80B63E}"/>
              </a:ext>
            </a:extLst>
          </p:cNvPr>
          <p:cNvSpPr/>
          <p:nvPr/>
        </p:nvSpPr>
        <p:spPr>
          <a:xfrm>
            <a:off x="881" y="0"/>
            <a:ext cx="1961148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40826331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3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57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70" name="Object 6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3" y="1787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 hidden="1"/>
          <p:cNvSpPr/>
          <p:nvPr>
            <p:custDataLst>
              <p:tags r:id="rId3"/>
            </p:custDataLst>
          </p:nvPr>
        </p:nvSpPr>
        <p:spPr bwMode="auto">
          <a:xfrm>
            <a:off x="826" y="0"/>
            <a:ext cx="178547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000" b="1" dirty="0">
              <a:solidFill>
                <a:schemeClr val="tx1"/>
              </a:solidFill>
              <a:latin typeface="Axiforma"/>
              <a:cs typeface="Arial"/>
              <a:sym typeface="Axiforma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1DA8971-0AB4-4BB0-943C-CADD105CD90E}"/>
              </a:ext>
            </a:extLst>
          </p:cNvPr>
          <p:cNvSpPr txBox="1">
            <a:spLocks/>
          </p:cNvSpPr>
          <p:nvPr/>
        </p:nvSpPr>
        <p:spPr bwMode="auto">
          <a:xfrm>
            <a:off x="378915" y="776126"/>
            <a:ext cx="8519364" cy="374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’ve learnt from using maps in the MGP project</a:t>
            </a:r>
            <a:endParaRPr lang="en-AU" sz="2400" b="1" dirty="0">
              <a:solidFill>
                <a:srgbClr val="008C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42E7CF-712D-1349-A477-406EC83EE2BA}"/>
              </a:ext>
            </a:extLst>
          </p:cNvPr>
          <p:cNvSpPr/>
          <p:nvPr/>
        </p:nvSpPr>
        <p:spPr>
          <a:xfrm>
            <a:off x="593572" y="1678224"/>
            <a:ext cx="8893479" cy="4928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se maps have enabled leaders (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eg.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CEO MAF and minister) as well as donor partners (World Bank &amp; IFAD) to became aware what's happening as the project progresses –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ore transparency </a:t>
            </a: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p-making using QGIS has 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 become a part of overall M&amp;E process of the projec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for reporting purposes</a:t>
            </a:r>
          </a:p>
          <a:p>
            <a:pPr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ps addressed &amp; solved underlying issues the project team had concerns about</a:t>
            </a: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verall it has 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efficiency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(using these open-sourc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oftware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) which has allowed for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ore focus on working with and getting help to the people that matter = farmers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73607D-491D-3647-AC0D-0BA7145E1352}"/>
              </a:ext>
            </a:extLst>
          </p:cNvPr>
          <p:cNvSpPr/>
          <p:nvPr/>
        </p:nvSpPr>
        <p:spPr>
          <a:xfrm>
            <a:off x="881" y="0"/>
            <a:ext cx="2379064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s Learnt</a:t>
            </a:r>
          </a:p>
        </p:txBody>
      </p:sp>
    </p:spTree>
    <p:extLst>
      <p:ext uri="{BB962C8B-B14F-4D97-AF65-F5344CB8AC3E}">
        <p14:creationId xmlns:p14="http://schemas.microsoft.com/office/powerpoint/2010/main" val="40387727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F30BA9-D03E-7040-9228-111F0032E9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705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F30BA9-D03E-7040-9228-111F0032E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EB6B6EE-B051-7E4D-8EB4-BD89419537C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6658"/>
          <a:stretch/>
        </p:blipFill>
        <p:spPr>
          <a:xfrm>
            <a:off x="-1" y="-1"/>
            <a:ext cx="10080626" cy="7559675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D4C8686-391E-414C-B489-CA3B76655B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5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7C948E-AF43-0441-A211-5BB2DB7DC54D}"/>
              </a:ext>
            </a:extLst>
          </p:cNvPr>
          <p:cNvSpPr txBox="1"/>
          <p:nvPr/>
        </p:nvSpPr>
        <p:spPr>
          <a:xfrm>
            <a:off x="4918392" y="950976"/>
            <a:ext cx="4652328" cy="468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endParaRPr lang="en-GB" sz="3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0FA4DC1-76BC-9947-AD3D-3D2EC6F8C94C}"/>
              </a:ext>
            </a:extLst>
          </p:cNvPr>
          <p:cNvSpPr/>
          <p:nvPr/>
        </p:nvSpPr>
        <p:spPr>
          <a:xfrm rot="16200000">
            <a:off x="-1642523" y="5660965"/>
            <a:ext cx="3548952" cy="248466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GB" sz="1000" i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orasplantationfoods.com</a:t>
            </a:r>
            <a:endParaRPr lang="en-GB" sz="1000" i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F6AADA-CA78-BE4F-89A1-3111C170B7BB}"/>
              </a:ext>
            </a:extLst>
          </p:cNvPr>
          <p:cNvSpPr/>
          <p:nvPr/>
        </p:nvSpPr>
        <p:spPr>
          <a:xfrm>
            <a:off x="5040312" y="1705778"/>
            <a:ext cx="4753855" cy="4019114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342900" dist="241300" dir="2700000" sx="132000" sy="132000" algn="tl" rotWithShape="0">
              <a:prstClr val="black">
                <a:alpha val="66000"/>
              </a:prstClr>
            </a:outerShdw>
            <a:softEdge rad="0"/>
          </a:effectLst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GB" sz="2500" b="1" dirty="0">
                <a:solidFill>
                  <a:schemeClr val="bg1"/>
                </a:solidFill>
                <a:highlight>
                  <a:srgbClr val="008C44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ith any technological solution, we always need to keep our key stakeholders top of mind.</a:t>
            </a:r>
          </a:p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endParaRPr lang="en-GB" sz="2500" b="1" dirty="0">
              <a:solidFill>
                <a:schemeClr val="bg1"/>
              </a:solidFill>
              <a:highlight>
                <a:srgbClr val="008C44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endParaRPr lang="en-GB" sz="2500" b="1" dirty="0">
              <a:solidFill>
                <a:schemeClr val="bg1"/>
              </a:solidFill>
              <a:highlight>
                <a:srgbClr val="008C44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GB" sz="3200" b="1" dirty="0">
                <a:solidFill>
                  <a:schemeClr val="bg1"/>
                </a:solidFill>
                <a:highlight>
                  <a:srgbClr val="008C44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ank You and </a:t>
            </a:r>
            <a:r>
              <a:rPr lang="en-GB" sz="3200" b="1" dirty="0" err="1">
                <a:solidFill>
                  <a:schemeClr val="bg1"/>
                </a:solidFill>
                <a:highlight>
                  <a:srgbClr val="008C44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aafetai</a:t>
            </a:r>
            <a:r>
              <a:rPr lang="en-GB" sz="3200" b="1" dirty="0">
                <a:solidFill>
                  <a:schemeClr val="bg1"/>
                </a:solidFill>
                <a:highlight>
                  <a:srgbClr val="008C44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Lava</a:t>
            </a:r>
          </a:p>
        </p:txBody>
      </p:sp>
    </p:spTree>
    <p:extLst>
      <p:ext uri="{BB962C8B-B14F-4D97-AF65-F5344CB8AC3E}">
        <p14:creationId xmlns:p14="http://schemas.microsoft.com/office/powerpoint/2010/main" val="1863778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0BD2B4B-E929-824C-B244-4C685E158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4443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0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0BD2B4B-E929-824C-B244-4C685E158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E1915DB-D542-DF4C-BFBE-F144FEDEA7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548" y="-3389"/>
            <a:ext cx="11411721" cy="7563064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905BF1-7A1D-124E-AEFF-53E147972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499" y="5932896"/>
            <a:ext cx="9091635" cy="911211"/>
          </a:xfrm>
        </p:spPr>
        <p:txBody>
          <a:bodyPr vert="horz"/>
          <a:lstStyle/>
          <a:p>
            <a:r>
              <a:rPr lang="en-US" sz="2800" dirty="0">
                <a:solidFill>
                  <a:schemeClr val="tx1"/>
                </a:solidFill>
                <a:highlight>
                  <a:srgbClr val="E9EAEB"/>
                </a:highlight>
              </a:rPr>
              <a:t>…but there is value in coming together from time to time to learn from each oth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54E3AB-00AC-7B45-84BB-27175335B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BE26F-5005-427F-A945-681CE80C1FFC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357DA3-447B-2A46-9338-4B9B1DC80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B7460E-5634-0848-B8BC-EB6A3D5A68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168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3F3FD48E-5F9B-5B45-98CD-924E64DA25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683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1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888F3A-4B20-8A44-91B3-D190B6C87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A0984-D895-C347-8D91-C67CCBB12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1" y="589387"/>
            <a:ext cx="8694539" cy="390428"/>
          </a:xfrm>
        </p:spPr>
        <p:txBody>
          <a:bodyPr/>
          <a:lstStyle/>
          <a:p>
            <a:r>
              <a:rPr lang="en-GB" dirty="0"/>
              <a:t>In comparison to recent Q1s, taro exports are solid</a:t>
            </a:r>
          </a:p>
        </p:txBody>
      </p:sp>
      <p:sp>
        <p:nvSpPr>
          <p:cNvPr id="945" name="Rectangle 944">
            <a:extLst>
              <a:ext uri="{FF2B5EF4-FFF2-40B4-BE49-F238E27FC236}">
                <a16:creationId xmlns:a16="http://schemas.microsoft.com/office/drawing/2014/main" id="{7C0DF3B1-ABC9-904A-9535-167450A95CAD}"/>
              </a:ext>
            </a:extLst>
          </p:cNvPr>
          <p:cNvSpPr/>
          <p:nvPr/>
        </p:nvSpPr>
        <p:spPr>
          <a:xfrm>
            <a:off x="158959" y="7161134"/>
            <a:ext cx="4465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GB" sz="1400" i="1" dirty="0">
                <a:latin typeface="Arial" panose="020B0604020202020204" pitchFamily="34" charset="0"/>
                <a:cs typeface="Arial" panose="020B0604020202020204" pitchFamily="34" charset="0"/>
              </a:rPr>
              <a:t>Data: Quarantine Division; Samoa Bureau of Statistics</a:t>
            </a:r>
          </a:p>
        </p:txBody>
      </p:sp>
      <p:graphicFrame>
        <p:nvGraphicFramePr>
          <p:cNvPr id="143" name="Chart 142">
            <a:extLst>
              <a:ext uri="{FF2B5EF4-FFF2-40B4-BE49-F238E27FC236}">
                <a16:creationId xmlns:a16="http://schemas.microsoft.com/office/drawing/2014/main" id="{F3A5586A-D0E7-0E4E-BBA2-6915F3FBA54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27401311"/>
              </p:ext>
            </p:extLst>
          </p:nvPr>
        </p:nvGraphicFramePr>
        <p:xfrm>
          <a:off x="3178175" y="2254250"/>
          <a:ext cx="4200525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AC84FDA-13BB-C74D-94D5-627B371FE2D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106988" y="3165475"/>
            <a:ext cx="339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8B77D6-B44D-4105-BBE0-D738EFACA912}" type="datetime'''''''''''''''''''''''''''3''''5''''''''''''''''3''''''''''t'">
              <a:rPr lang="en-GB" altLang="en-US" sz="1200" smtClean="0"/>
              <a:pPr/>
              <a:t>353t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BE93DB55-688D-EC45-9889-EF9CD16DE97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498850" y="2901950"/>
            <a:ext cx="3286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6C8398-9970-4484-9137-7112FDB50D73}" type="datetime'''4''''''''1''''''''''''''''''''''''''''''1''''''t'">
              <a:rPr lang="en-GB" altLang="en-US" sz="1200" smtClean="0"/>
              <a:pPr/>
              <a:t>411t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D1FE1E93-C25B-0940-B39B-887F802472E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915025" y="4000500"/>
            <a:ext cx="339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7E613A-0246-4B3D-BBBB-003842152A04}" type="datetime'''''''''''17''''''''''''''''1''''''''''''''''t'''''''''''">
              <a:rPr lang="en-GB" altLang="en-US" sz="1200" smtClean="0"/>
              <a:pPr/>
              <a:t>171t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AD0BF66-D23D-6D48-8187-07DD54690CD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3562350" y="5060950"/>
            <a:ext cx="2016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08DBC8F-95FE-4242-91B8-654FABC2ED3B}" type="datetime'''''''''''''''''''''''Q1'' 2''''''''''''0''1''''''''''6'''">
              <a:rPr lang="en-GB" altLang="en-US" sz="1200" smtClean="0"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Q1 2016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04075E9-2390-6847-BC7D-2653F6AAEB7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176838" y="5060950"/>
            <a:ext cx="2016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F9A60A7-42B2-4F63-A71E-39825E679043}" type="datetime'''''''''Q''''1'''' ''''''''20''''1''''''''8'''''">
              <a:rPr lang="en-GB" altLang="en-US" sz="1200" smtClean="0"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Q1 2018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97651496-F4CF-B14C-ABD4-F6D7BCC86DE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370388" y="5060950"/>
            <a:ext cx="2016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66DFC8B-45B5-414B-9371-B954CE329D22}" type="datetime'''''''''''Q''1'' ''''2''''''0''''''''1''''''7'''''''">
              <a:rPr lang="en-GB" altLang="en-US" sz="1200" smtClean="0"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Q1 2017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85C4047-65BA-D54F-9782-44B4C6A560B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300538" y="2109788"/>
            <a:ext cx="339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97C9200-4426-4A25-A3AF-189FB50357D8}" type="datetime'''''''''''''''''''''''''''58''''''''''4''''''t'''''">
              <a:rPr lang="en-GB" altLang="en-US" sz="1200" smtClean="0"/>
              <a:pPr/>
              <a:t>584t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BE09D75B-D17F-DA4E-B53A-5948B087ED3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984875" y="5060950"/>
            <a:ext cx="2016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2B70F77-84A2-4FD5-A009-F9EF5D16BB7E}" type="datetime'''''''''''''''Q''''1 ''''''2''0''''''1''''''''''9'''''''''''''">
              <a:rPr lang="en-GB" altLang="en-US" sz="1200" smtClean="0"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Q1 2019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D4677DE-39F6-6E40-95D2-0384E132A90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721475" y="3001963"/>
            <a:ext cx="339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F79472-13CE-48C5-8CC0-793DA926A3A1}" type="datetime'''''''''''''''''''''''''''''''''''''''389''t'''''''''">
              <a:rPr lang="en-GB" altLang="en-US" sz="1200" smtClean="0"/>
              <a:pPr/>
              <a:t>389t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5E0AA96-2539-CE43-8917-5D59E9EBB19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791325" y="5060950"/>
            <a:ext cx="201613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9550" indent="-2095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23495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rgbClr val="008C44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60400" indent="-2032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215900" algn="l" defTabSz="1007943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2"/>
              </a:buClr>
              <a:buSzPct val="140000"/>
              <a:buFont typeface="Symbol" panose="05050102010706020507" pitchFamily="18" charset="2"/>
              <a:buChar char="-"/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2977D4E-45C9-4E43-B118-63F0C9AE1DE7}" type="datetime'Q''1'''''''''''''''''''''''''''' 2''0''2''''''''''''''''0'''">
              <a:rPr lang="en-GB" altLang="en-US" sz="1200" smtClean="0"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Q1 2020</a:t>
            </a:fld>
            <a:endParaRPr lang="en-GB" sz="1200" dirty="0">
              <a:sym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E8EE520-DC21-9E4C-9AB1-7264674C4850}"/>
              </a:ext>
            </a:extLst>
          </p:cNvPr>
          <p:cNvSpPr/>
          <p:nvPr/>
        </p:nvSpPr>
        <p:spPr>
          <a:xfrm>
            <a:off x="881" y="0"/>
            <a:ext cx="1961148" cy="3768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7C9B8DC-2B97-DB45-B468-3CD0BC86BFFC}"/>
              </a:ext>
            </a:extLst>
          </p:cNvPr>
          <p:cNvSpPr/>
          <p:nvPr/>
        </p:nvSpPr>
        <p:spPr>
          <a:xfrm rot="16200000">
            <a:off x="1981994" y="3716686"/>
            <a:ext cx="17573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GB" sz="1200" i="1" dirty="0">
                <a:latin typeface="Arial" panose="020B0604020202020204" pitchFamily="34" charset="0"/>
                <a:cs typeface="Arial" panose="020B0604020202020204" pitchFamily="34" charset="0"/>
              </a:rPr>
              <a:t>Tonnes (1,000kgs)</a:t>
            </a:r>
          </a:p>
        </p:txBody>
      </p:sp>
      <p:pic>
        <p:nvPicPr>
          <p:cNvPr id="158" name="Picture 157">
            <a:extLst>
              <a:ext uri="{FF2B5EF4-FFF2-40B4-BE49-F238E27FC236}">
                <a16:creationId xmlns:a16="http://schemas.microsoft.com/office/drawing/2014/main" id="{BF4D2195-A206-D84A-88E0-09A15F95343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" y="0"/>
            <a:ext cx="10079567" cy="7559675"/>
          </a:xfrm>
          <a:prstGeom prst="rect">
            <a:avLst/>
          </a:prstGeom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E16FBF3A-DAE7-A448-B7CB-C99E6AF2AE6B}"/>
              </a:ext>
            </a:extLst>
          </p:cNvPr>
          <p:cNvSpPr txBox="1"/>
          <p:nvPr/>
        </p:nvSpPr>
        <p:spPr>
          <a:xfrm>
            <a:off x="14053" y="586034"/>
            <a:ext cx="7564193" cy="2824588"/>
          </a:xfrm>
          <a:prstGeom prst="rect">
            <a:avLst/>
          </a:prstGeom>
          <a:solidFill>
            <a:srgbClr val="008C44">
              <a:alpha val="66000"/>
            </a:srgbClr>
          </a:solidFill>
        </p:spPr>
        <p:txBody>
          <a:bodyPr vert="horz" wrap="square" lIns="108000" tIns="108000" rIns="108000" bIns="144000" rtlCol="0">
            <a:spAutoFit/>
          </a:bodyPr>
          <a:lstStyle/>
          <a:p>
            <a:pPr algn="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QGIS for a Local-Based Agriculture Project (MGP-SAFPROM)</a:t>
            </a:r>
            <a:b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SS4G Oceanic Conference - Samoa</a:t>
            </a:r>
            <a:b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GB" sz="24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vember 2020</a:t>
            </a:r>
            <a:endParaRPr lang="en-GB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340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3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2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70" name="Object 6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3" y="1787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 hidden="1"/>
          <p:cNvSpPr/>
          <p:nvPr>
            <p:custDataLst>
              <p:tags r:id="rId3"/>
            </p:custDataLst>
          </p:nvPr>
        </p:nvSpPr>
        <p:spPr bwMode="auto">
          <a:xfrm>
            <a:off x="826" y="0"/>
            <a:ext cx="178547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000" b="1" dirty="0">
              <a:solidFill>
                <a:schemeClr val="tx1"/>
              </a:solidFill>
              <a:latin typeface="Axiforma"/>
              <a:cs typeface="Arial"/>
              <a:sym typeface="Axiforma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1DA8971-0AB4-4BB0-943C-CADD105CD90E}"/>
              </a:ext>
            </a:extLst>
          </p:cNvPr>
          <p:cNvSpPr txBox="1">
            <a:spLocks/>
          </p:cNvSpPr>
          <p:nvPr/>
        </p:nvSpPr>
        <p:spPr bwMode="auto">
          <a:xfrm>
            <a:off x="599301" y="995547"/>
            <a:ext cx="8519364" cy="437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 my name is To’oa F Brown</a:t>
            </a:r>
            <a:endParaRPr lang="en-AU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42E7CF-712D-1349-A477-406EC83EE2BA}"/>
              </a:ext>
            </a:extLst>
          </p:cNvPr>
          <p:cNvSpPr/>
          <p:nvPr/>
        </p:nvSpPr>
        <p:spPr>
          <a:xfrm>
            <a:off x="1327759" y="1521971"/>
            <a:ext cx="5945882" cy="3341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r>
              <a:rPr lang="en-US" sz="2400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S Work experience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+mj-lt"/>
              <a:buAutoNum type="arabicPeriod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livery Leader/Data Analyst (Delivery Associates/MAF)</a:t>
            </a:r>
          </a:p>
          <a:p>
            <a:pPr marL="342900" indent="-342900">
              <a:lnSpc>
                <a:spcPct val="25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+mj-lt"/>
              <a:buAutoNum type="arabicPeriod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sset Management Consultant (LTA)</a:t>
            </a:r>
          </a:p>
          <a:p>
            <a:pPr marL="342900" indent="-342900">
              <a:lnSpc>
                <a:spcPct val="25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+mj-lt"/>
              <a:buAutoNum type="arabicPeriod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IS Specialist (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kyey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acific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17C52C2-32E0-1E48-BB94-ABE88D70CA5D}"/>
              </a:ext>
            </a:extLst>
          </p:cNvPr>
          <p:cNvSpPr/>
          <p:nvPr/>
        </p:nvSpPr>
        <p:spPr>
          <a:xfrm>
            <a:off x="880" y="0"/>
            <a:ext cx="2880105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Me</a:t>
            </a:r>
          </a:p>
        </p:txBody>
      </p:sp>
      <p:pic>
        <p:nvPicPr>
          <p:cNvPr id="16" name="Picture 15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97589712-401E-0349-BA8C-A3689CC37F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2" r="21999" b="859"/>
          <a:stretch>
            <a:fillRect/>
          </a:stretch>
        </p:blipFill>
        <p:spPr>
          <a:xfrm>
            <a:off x="6517187" y="934572"/>
            <a:ext cx="3043826" cy="2845265"/>
          </a:xfrm>
          <a:custGeom>
            <a:avLst/>
            <a:gdLst>
              <a:gd name="connsiteX0" fmla="*/ 1138051 w 3043826"/>
              <a:gd name="connsiteY0" fmla="*/ 0 h 2845265"/>
              <a:gd name="connsiteX1" fmla="*/ 1905775 w 3043826"/>
              <a:gd name="connsiteY1" fmla="*/ 0 h 2845265"/>
              <a:gd name="connsiteX2" fmla="*/ 1974484 w 3043826"/>
              <a:gd name="connsiteY2" fmla="*/ 16794 h 2845265"/>
              <a:gd name="connsiteX3" fmla="*/ 3043826 w 3043826"/>
              <a:gd name="connsiteY3" fmla="*/ 1398508 h 2845265"/>
              <a:gd name="connsiteX4" fmla="*/ 1521913 w 3043826"/>
              <a:gd name="connsiteY4" fmla="*/ 2845265 h 2845265"/>
              <a:gd name="connsiteX5" fmla="*/ 0 w 3043826"/>
              <a:gd name="connsiteY5" fmla="*/ 1398508 h 2845265"/>
              <a:gd name="connsiteX6" fmla="*/ 1069343 w 3043826"/>
              <a:gd name="connsiteY6" fmla="*/ 16794 h 284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3826" h="2845265">
                <a:moveTo>
                  <a:pt x="1138051" y="0"/>
                </a:moveTo>
                <a:lnTo>
                  <a:pt x="1905775" y="0"/>
                </a:lnTo>
                <a:lnTo>
                  <a:pt x="1974484" y="16794"/>
                </a:lnTo>
                <a:cubicBezTo>
                  <a:pt x="2594006" y="199970"/>
                  <a:pt x="3043826" y="749303"/>
                  <a:pt x="3043826" y="1398508"/>
                </a:cubicBezTo>
                <a:cubicBezTo>
                  <a:pt x="3043826" y="2197530"/>
                  <a:pt x="2362442" y="2845265"/>
                  <a:pt x="1521913" y="2845265"/>
                </a:cubicBezTo>
                <a:cubicBezTo>
                  <a:pt x="681384" y="2845265"/>
                  <a:pt x="0" y="2197530"/>
                  <a:pt x="0" y="1398508"/>
                </a:cubicBezTo>
                <a:cubicBezTo>
                  <a:pt x="0" y="749303"/>
                  <a:pt x="449820" y="199970"/>
                  <a:pt x="1069343" y="16794"/>
                </a:cubicBezTo>
                <a:close/>
              </a:path>
            </a:pathLst>
          </a:cu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681DB21-A836-894A-B60A-DE8C0C648DF8}"/>
              </a:ext>
            </a:extLst>
          </p:cNvPr>
          <p:cNvSpPr txBox="1"/>
          <p:nvPr/>
        </p:nvSpPr>
        <p:spPr>
          <a:xfrm>
            <a:off x="2918564" y="-1365337"/>
            <a:ext cx="153888" cy="22858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52400" indent="-152400" algn="l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  <a:buFont typeface="Arial" panose="020B0604020202020204" pitchFamily="34" charset="0"/>
              <a:buChar char="•"/>
            </a:pPr>
            <a:endParaRPr lang="en-WS" sz="14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9A39E6-2C26-F84E-B00B-E45A81D10D10}"/>
              </a:ext>
            </a:extLst>
          </p:cNvPr>
          <p:cNvSpPr/>
          <p:nvPr/>
        </p:nvSpPr>
        <p:spPr>
          <a:xfrm>
            <a:off x="1234358" y="5041041"/>
            <a:ext cx="7771856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r>
              <a:rPr lang="en-US" sz="2400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</a:p>
          <a:p>
            <a:pPr marL="285750" indent="-285750"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chelor of Science majoring in Geography &amp; Environment (University of Auckland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C9E9DEF7-696A-9F44-A0FE-65D5307D2E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42369"/>
            <a:ext cx="1234358" cy="7130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D40E1B-6064-6045-8707-0C54EA276C0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7391" b="90870" l="2740" r="93151">
                        <a14:foregroundMark x1="12785" y1="70435" x2="12785" y2="70435"/>
                        <a14:foregroundMark x1="2740" y1="38261" x2="2740" y2="38261"/>
                        <a14:foregroundMark x1="93151" y1="34348" x2="93151" y2="34348"/>
                        <a14:foregroundMark x1="55251" y1="7826" x2="55251" y2="7826"/>
                        <a14:foregroundMark x1="66210" y1="90870" x2="66210" y2="90870"/>
                        <a14:backgroundMark x1="4566" y1="13043" x2="4566" y2="13043"/>
                        <a14:backgroundMark x1="4566" y1="13043" x2="4566" y2="13043"/>
                        <a14:backgroundMark x1="4566" y1="13043" x2="4566" y2="13043"/>
                        <a14:backgroundMark x1="4566" y1="13043" x2="4566" y2="130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9612" y="1832080"/>
            <a:ext cx="594422" cy="62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3929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3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3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70" name="Object 6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3" y="1787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 hidden="1"/>
          <p:cNvSpPr/>
          <p:nvPr>
            <p:custDataLst>
              <p:tags r:id="rId3"/>
            </p:custDataLst>
          </p:nvPr>
        </p:nvSpPr>
        <p:spPr bwMode="auto">
          <a:xfrm>
            <a:off x="826" y="0"/>
            <a:ext cx="178547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000" b="1" dirty="0">
              <a:solidFill>
                <a:schemeClr val="tx1"/>
              </a:solidFill>
              <a:latin typeface="Axiforma"/>
              <a:cs typeface="Arial"/>
              <a:sym typeface="Axiforma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1DA8971-0AB4-4BB0-943C-CADD105CD90E}"/>
              </a:ext>
            </a:extLst>
          </p:cNvPr>
          <p:cNvSpPr txBox="1">
            <a:spLocks/>
          </p:cNvSpPr>
          <p:nvPr/>
        </p:nvSpPr>
        <p:spPr bwMode="auto">
          <a:xfrm>
            <a:off x="403619" y="661732"/>
            <a:ext cx="8519364" cy="650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atching Grants Programme (MGP) under SAFPROM helps poor farmers and fishers to increase their productivity and resilience</a:t>
            </a:r>
            <a:endParaRPr lang="en-AU" b="1" dirty="0">
              <a:solidFill>
                <a:srgbClr val="008C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McK 3. Unit of measure">
            <a:extLst>
              <a:ext uri="{FF2B5EF4-FFF2-40B4-BE49-F238E27FC236}">
                <a16:creationId xmlns:a16="http://schemas.microsoft.com/office/drawing/2014/main" id="{A956BBCD-06A5-9644-BEBB-B3847505506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56919" y="4969793"/>
            <a:ext cx="7366786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 algn="ctr"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008C44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3300 applicants have registered for the first round of grant support with 1305 farmers approved for Y1</a:t>
            </a:r>
            <a:endParaRPr lang="en-IN" sz="2000" dirty="0">
              <a:solidFill>
                <a:srgbClr val="008C44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42E7CF-712D-1349-A477-406EC83EE2BA}"/>
              </a:ext>
            </a:extLst>
          </p:cNvPr>
          <p:cNvSpPr/>
          <p:nvPr/>
        </p:nvSpPr>
        <p:spPr>
          <a:xfrm>
            <a:off x="1141922" y="1963478"/>
            <a:ext cx="7796780" cy="2355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The MGP is a critical deliverable for the Ministry of Agriculture and Fisheries. It is funded through the World Bank/IFAD agriculture sector support project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Supporting poor farmers and fishers to become more commercially oriented. </a:t>
            </a:r>
          </a:p>
          <a:p>
            <a:pPr marL="285750" lvl="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utput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vides financial investment in farming and fishery operations alongside technical and business support from local experts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4208E7E-D8E6-2E45-85DB-AA1B0CD5B78C}"/>
              </a:ext>
            </a:extLst>
          </p:cNvPr>
          <p:cNvSpPr/>
          <p:nvPr/>
        </p:nvSpPr>
        <p:spPr>
          <a:xfrm>
            <a:off x="303901" y="6742483"/>
            <a:ext cx="6814841" cy="310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r>
              <a:rPr lang="en-US" sz="1400" b="1" dirty="0">
                <a:solidFill>
                  <a:schemeClr val="accent1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PROM – Samoa Agriculture &amp; Fisheries Productivity &amp; Marketing Project</a:t>
            </a:r>
            <a:endParaRPr lang="en-US" sz="1400" dirty="0">
              <a:solidFill>
                <a:schemeClr val="accent1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17C52C2-32E0-1E48-BB94-ABE88D70CA5D}"/>
              </a:ext>
            </a:extLst>
          </p:cNvPr>
          <p:cNvSpPr/>
          <p:nvPr/>
        </p:nvSpPr>
        <p:spPr>
          <a:xfrm>
            <a:off x="880" y="0"/>
            <a:ext cx="2880105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Background</a:t>
            </a:r>
          </a:p>
        </p:txBody>
      </p:sp>
    </p:spTree>
    <p:extLst>
      <p:ext uri="{BB962C8B-B14F-4D97-AF65-F5344CB8AC3E}">
        <p14:creationId xmlns:p14="http://schemas.microsoft.com/office/powerpoint/2010/main" val="2246373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26E188-2801-CB4F-8B3E-27B63D379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067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2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26E188-2801-CB4F-8B3E-27B63D379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5A78DD-C09D-B84B-8994-45B72B4DC2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b="1" dirty="0">
              <a:latin typeface="Axiforma ExtraBold"/>
              <a:cs typeface="Arial"/>
              <a:sym typeface="Axiforma ExtraBold"/>
            </a:endParaRPr>
          </a:p>
        </p:txBody>
      </p:sp>
      <p:sp>
        <p:nvSpPr>
          <p:cNvPr id="27" name="Flowchart: Process 26"/>
          <p:cNvSpPr/>
          <p:nvPr/>
        </p:nvSpPr>
        <p:spPr>
          <a:xfrm>
            <a:off x="7048348" y="2342387"/>
            <a:ext cx="2750967" cy="1633898"/>
          </a:xfrm>
          <a:prstGeom prst="flowChartProces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lowchart: Process 25"/>
          <p:cNvSpPr/>
          <p:nvPr/>
        </p:nvSpPr>
        <p:spPr>
          <a:xfrm>
            <a:off x="3545166" y="2342389"/>
            <a:ext cx="2999321" cy="1633902"/>
          </a:xfrm>
          <a:prstGeom prst="flowChartProces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7596" y="545762"/>
            <a:ext cx="8694539" cy="813621"/>
          </a:xfrm>
        </p:spPr>
        <p:txBody>
          <a:bodyPr vert="horz"/>
          <a:lstStyle/>
          <a:p>
            <a:r>
              <a:rPr lang="en-US" dirty="0"/>
              <a:t>Digital Component allowed for faster data collection (saved the ministry time and resources)</a:t>
            </a:r>
            <a:endParaRPr lang="en-US" sz="2800" dirty="0"/>
          </a:p>
        </p:txBody>
      </p:sp>
      <p:sp>
        <p:nvSpPr>
          <p:cNvPr id="15" name="TextBox 14"/>
          <p:cNvSpPr txBox="1"/>
          <p:nvPr/>
        </p:nvSpPr>
        <p:spPr>
          <a:xfrm>
            <a:off x="3967608" y="2758382"/>
            <a:ext cx="2254823" cy="437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Excel Output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588944" y="2521396"/>
            <a:ext cx="1669774" cy="8486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apping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sing QGI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lowchart: Process 19"/>
          <p:cNvSpPr/>
          <p:nvPr/>
        </p:nvSpPr>
        <p:spPr>
          <a:xfrm>
            <a:off x="284853" y="2351983"/>
            <a:ext cx="2756451" cy="1613004"/>
          </a:xfrm>
          <a:prstGeom prst="flowChartProces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1312" y="2442799"/>
            <a:ext cx="2723257" cy="1313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gital Form </a:t>
            </a:r>
          </a:p>
          <a:p>
            <a:pPr algn="ctr">
              <a:lnSpc>
                <a:spcPct val="110000"/>
              </a:lnSpc>
              <a:spcBef>
                <a:spcPts val="900"/>
              </a:spcBef>
              <a:buClr>
                <a:schemeClr val="accent5"/>
              </a:buClr>
              <a:buSzPct val="140000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using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KoboToolbox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for data collection during Verification Visits)</a:t>
            </a:r>
          </a:p>
        </p:txBody>
      </p:sp>
      <p:sp>
        <p:nvSpPr>
          <p:cNvPr id="28" name="Merge 7">
            <a:extLst>
              <a:ext uri="{FF2B5EF4-FFF2-40B4-BE49-F238E27FC236}">
                <a16:creationId xmlns:a16="http://schemas.microsoft.com/office/drawing/2014/main" id="{DADFDF91-C0FD-C244-9D2A-C46EBB1B9373}"/>
              </a:ext>
            </a:extLst>
          </p:cNvPr>
          <p:cNvSpPr/>
          <p:nvPr/>
        </p:nvSpPr>
        <p:spPr>
          <a:xfrm rot="16200000">
            <a:off x="6066511" y="2820360"/>
            <a:ext cx="1633901" cy="677949"/>
          </a:xfrm>
          <a:prstGeom prst="flowChartMerge">
            <a:avLst/>
          </a:prstGeom>
          <a:solidFill>
            <a:srgbClr val="00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63" y="4212001"/>
            <a:ext cx="1430354" cy="251830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8475" y="4416353"/>
            <a:ext cx="2313956" cy="231395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19"/>
          <a:stretch/>
        </p:blipFill>
        <p:spPr>
          <a:xfrm>
            <a:off x="7624748" y="4416353"/>
            <a:ext cx="1701384" cy="1933252"/>
          </a:xfrm>
          <a:prstGeom prst="rect">
            <a:avLst/>
          </a:prstGeom>
        </p:spPr>
      </p:pic>
      <p:sp>
        <p:nvSpPr>
          <p:cNvPr id="32" name="Title 2"/>
          <p:cNvSpPr txBox="1">
            <a:spLocks/>
          </p:cNvSpPr>
          <p:nvPr/>
        </p:nvSpPr>
        <p:spPr>
          <a:xfrm>
            <a:off x="1834451" y="1614231"/>
            <a:ext cx="6411721" cy="3747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500" b="1" kern="1200">
                <a:solidFill>
                  <a:srgbClr val="008C4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>
                <a:solidFill>
                  <a:schemeClr val="tx1"/>
                </a:solidFill>
              </a:rPr>
              <a:t>Digital Component Process</a:t>
            </a:r>
          </a:p>
        </p:txBody>
      </p:sp>
      <p:sp>
        <p:nvSpPr>
          <p:cNvPr id="24" name="Merge 7">
            <a:extLst>
              <a:ext uri="{FF2B5EF4-FFF2-40B4-BE49-F238E27FC236}">
                <a16:creationId xmlns:a16="http://schemas.microsoft.com/office/drawing/2014/main" id="{BF4309D5-C30B-AC43-98CD-77D3FC5707DC}"/>
              </a:ext>
            </a:extLst>
          </p:cNvPr>
          <p:cNvSpPr/>
          <p:nvPr/>
        </p:nvSpPr>
        <p:spPr>
          <a:xfrm rot="16200000">
            <a:off x="2566153" y="2811884"/>
            <a:ext cx="1628254" cy="677949"/>
          </a:xfrm>
          <a:prstGeom prst="flowChartMerge">
            <a:avLst/>
          </a:prstGeom>
          <a:solidFill>
            <a:srgbClr val="00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BB1333-6016-CB4E-B62B-6C16BF03327A}"/>
              </a:ext>
            </a:extLst>
          </p:cNvPr>
          <p:cNvSpPr/>
          <p:nvPr/>
        </p:nvSpPr>
        <p:spPr>
          <a:xfrm>
            <a:off x="477596" y="6977323"/>
            <a:ext cx="6814841" cy="3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KoboToolbox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– also open-software for data collection purpose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7B4227-1778-D54B-A102-964AFD7B5E0E}"/>
              </a:ext>
            </a:extLst>
          </p:cNvPr>
          <p:cNvSpPr/>
          <p:nvPr/>
        </p:nvSpPr>
        <p:spPr>
          <a:xfrm>
            <a:off x="880" y="0"/>
            <a:ext cx="2756451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Component</a:t>
            </a:r>
          </a:p>
        </p:txBody>
      </p:sp>
    </p:spTree>
    <p:extLst>
      <p:ext uri="{BB962C8B-B14F-4D97-AF65-F5344CB8AC3E}">
        <p14:creationId xmlns:p14="http://schemas.microsoft.com/office/powerpoint/2010/main" val="693098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E46526-0ACA-4D4C-A028-A7E9CD3880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FE46526-0ACA-4D4C-A028-A7E9CD388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ctangle 96">
            <a:extLst>
              <a:ext uri="{FF2B5EF4-FFF2-40B4-BE49-F238E27FC236}">
                <a16:creationId xmlns:a16="http://schemas.microsoft.com/office/drawing/2014/main" id="{263B870B-E669-484C-8C30-A63DE73F8747}"/>
              </a:ext>
            </a:extLst>
          </p:cNvPr>
          <p:cNvSpPr/>
          <p:nvPr/>
        </p:nvSpPr>
        <p:spPr>
          <a:xfrm>
            <a:off x="445770" y="2486502"/>
            <a:ext cx="9201150" cy="4514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D255513-905F-F34E-B5D7-C0864A930046}"/>
              </a:ext>
            </a:extLst>
          </p:cNvPr>
          <p:cNvSpPr txBox="1">
            <a:spLocks/>
          </p:cNvSpPr>
          <p:nvPr/>
        </p:nvSpPr>
        <p:spPr bwMode="auto">
          <a:xfrm>
            <a:off x="187670" y="535708"/>
            <a:ext cx="8885944" cy="374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Component (DC) saved MAF up to ~1100 working </a:t>
            </a:r>
            <a:r>
              <a:rPr lang="en-US" sz="2400" b="1" dirty="0" err="1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s</a:t>
            </a:r>
            <a:endParaRPr lang="en-AU" sz="2400" b="1" dirty="0">
              <a:solidFill>
                <a:srgbClr val="008C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80B21F8-308A-E640-957B-54B070FA85EB}"/>
              </a:ext>
            </a:extLst>
          </p:cNvPr>
          <p:cNvSpPr/>
          <p:nvPr/>
        </p:nvSpPr>
        <p:spPr>
          <a:xfrm>
            <a:off x="341015" y="1162771"/>
            <a:ext cx="9125932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igital componen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peed up these visits. This innovation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alves the time spen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er farmer (from 40mins to 20mins).</a:t>
            </a:r>
          </a:p>
          <a:p>
            <a:pPr marL="285750" indent="-285750"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ver the course of 3300 planned farmer visits, this amounts to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100 working hours saved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mpared to using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traditional manual system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6044FB5-852E-0F4F-AE48-98D05FEC4BAA}"/>
              </a:ext>
            </a:extLst>
          </p:cNvPr>
          <p:cNvGrpSpPr/>
          <p:nvPr/>
        </p:nvGrpSpPr>
        <p:grpSpPr>
          <a:xfrm>
            <a:off x="651540" y="2623661"/>
            <a:ext cx="8815407" cy="4129792"/>
            <a:chOff x="651541" y="1097500"/>
            <a:chExt cx="8814978" cy="453050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56B4155-33C8-DB4E-AA43-2B12F8D3C778}"/>
                </a:ext>
              </a:extLst>
            </p:cNvPr>
            <p:cNvSpPr/>
            <p:nvPr/>
          </p:nvSpPr>
          <p:spPr>
            <a:xfrm>
              <a:off x="1937563" y="2185685"/>
              <a:ext cx="3338723" cy="7429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view</a:t>
              </a:r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ussion with applican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DC28F16-91AB-694B-A886-CC9D6AC6B632}"/>
                </a:ext>
              </a:extLst>
            </p:cNvPr>
            <p:cNvSpPr/>
            <p:nvPr/>
          </p:nvSpPr>
          <p:spPr>
            <a:xfrm>
              <a:off x="1937563" y="3091384"/>
              <a:ext cx="1651457" cy="12621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ke notes</a:t>
              </a:r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aper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34E9A8F-F2E0-AD4C-B7F2-7214BA7A96BB}"/>
                </a:ext>
              </a:extLst>
            </p:cNvPr>
            <p:cNvSpPr/>
            <p:nvPr/>
          </p:nvSpPr>
          <p:spPr>
            <a:xfrm>
              <a:off x="1937563" y="4590250"/>
              <a:ext cx="3338723" cy="10377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entry</a:t>
              </a:r>
              <a:b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Attach photos to database</a:t>
              </a:r>
            </a:p>
            <a:p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ype up notes in offic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6A650D-0A5D-EB43-B947-0C4958946ED4}"/>
                </a:ext>
              </a:extLst>
            </p:cNvPr>
            <p:cNvSpPr/>
            <p:nvPr/>
          </p:nvSpPr>
          <p:spPr>
            <a:xfrm>
              <a:off x="5943768" y="3091382"/>
              <a:ext cx="3313115" cy="20834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put data to app + upload</a:t>
              </a:r>
            </a:p>
            <a:p>
              <a:r>
                <a:rPr lang="en-GB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es direct to app; GPS auto-generated; photo integration; upload direct to database</a:t>
              </a:r>
            </a:p>
            <a:p>
              <a:r>
                <a:rPr lang="en-GB" sz="1400" i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ults linked to excel output automatically updates when refreshed on QGI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8CA96E-82BA-8C43-A6F5-1C159DE70666}"/>
                </a:ext>
              </a:extLst>
            </p:cNvPr>
            <p:cNvSpPr/>
            <p:nvPr/>
          </p:nvSpPr>
          <p:spPr>
            <a:xfrm>
              <a:off x="3739128" y="3091384"/>
              <a:ext cx="1537157" cy="12621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ke photos</a:t>
              </a:r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manual)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49C4C5A-1905-D644-A1B8-C2ED435EA71D}"/>
                </a:ext>
              </a:extLst>
            </p:cNvPr>
            <p:cNvSpPr/>
            <p:nvPr/>
          </p:nvSpPr>
          <p:spPr>
            <a:xfrm>
              <a:off x="4516352" y="2576595"/>
              <a:ext cx="759933" cy="35244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mi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847F5FE-9A79-FF44-B328-FE1C7CC4E556}"/>
                </a:ext>
              </a:extLst>
            </p:cNvPr>
            <p:cNvSpPr/>
            <p:nvPr/>
          </p:nvSpPr>
          <p:spPr>
            <a:xfrm>
              <a:off x="5943769" y="2185685"/>
              <a:ext cx="3338723" cy="74293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view</a:t>
              </a:r>
              <a:r>
                <a:rPr lang="en-GB" sz="16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en-GB" sz="16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ussion with applican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A250707-13F3-4A46-ACC8-20D381759C2F}"/>
                </a:ext>
              </a:extLst>
            </p:cNvPr>
            <p:cNvSpPr/>
            <p:nvPr/>
          </p:nvSpPr>
          <p:spPr>
            <a:xfrm>
              <a:off x="8522559" y="2576595"/>
              <a:ext cx="759933" cy="35244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GB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min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6D72F4C-6686-2648-A5CD-95AA699339FA}"/>
                </a:ext>
              </a:extLst>
            </p:cNvPr>
            <p:cNvSpPr/>
            <p:nvPr/>
          </p:nvSpPr>
          <p:spPr>
            <a:xfrm>
              <a:off x="7773899" y="4690919"/>
              <a:ext cx="1470883" cy="48391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GB" sz="1400" i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ultaneous to interview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6E8587D-E79C-3A4E-A8F6-08D68C734D54}"/>
                </a:ext>
              </a:extLst>
            </p:cNvPr>
            <p:cNvSpPr txBox="1"/>
            <p:nvPr/>
          </p:nvSpPr>
          <p:spPr>
            <a:xfrm>
              <a:off x="651541" y="2185685"/>
              <a:ext cx="752067" cy="7140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900"/>
                </a:spcBef>
                <a:buClr>
                  <a:schemeClr val="accent5"/>
                </a:buClr>
                <a:buSzPct val="140000"/>
              </a:pPr>
              <a:r>
                <a:rPr lang="en-GB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Field </a:t>
              </a:r>
              <a:br>
                <a:rPr lang="en-GB" sz="2000" b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D4E5169-AFFC-1147-A341-55E440174025}"/>
                </a:ext>
              </a:extLst>
            </p:cNvPr>
            <p:cNvSpPr txBox="1"/>
            <p:nvPr/>
          </p:nvSpPr>
          <p:spPr>
            <a:xfrm>
              <a:off x="651541" y="4594510"/>
              <a:ext cx="897278" cy="7140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900"/>
                </a:spcBef>
                <a:buClr>
                  <a:schemeClr val="accent5"/>
                </a:buClr>
                <a:buSzPct val="140000"/>
              </a:pPr>
              <a:r>
                <a:rPr lang="en-GB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Office work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62B24AF-2604-C344-BC79-27DC87897B7D}"/>
                </a:ext>
              </a:extLst>
            </p:cNvPr>
            <p:cNvSpPr/>
            <p:nvPr/>
          </p:nvSpPr>
          <p:spPr>
            <a:xfrm>
              <a:off x="1937564" y="1516655"/>
              <a:ext cx="3338723" cy="3523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40min </a:t>
              </a:r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 applicant farmer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6F298EE1-1980-3745-8F85-D233E32D5E6C}"/>
                </a:ext>
              </a:extLst>
            </p:cNvPr>
            <p:cNvCxnSpPr>
              <a:cxnSpLocks/>
            </p:cNvCxnSpPr>
            <p:nvPr/>
          </p:nvCxnSpPr>
          <p:spPr>
            <a:xfrm>
              <a:off x="651541" y="2009093"/>
              <a:ext cx="8814978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72BA3DB-C9AF-9940-801D-9B5A25AC6637}"/>
                </a:ext>
              </a:extLst>
            </p:cNvPr>
            <p:cNvSpPr txBox="1"/>
            <p:nvPr/>
          </p:nvSpPr>
          <p:spPr>
            <a:xfrm>
              <a:off x="1937563" y="1097500"/>
              <a:ext cx="2322348" cy="4110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900"/>
                </a:spcBef>
                <a:buClr>
                  <a:schemeClr val="accent5"/>
                </a:buClr>
                <a:buSzPct val="140000"/>
              </a:pPr>
              <a:r>
                <a:rPr lang="en-GB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Without DC 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190CE05-2D7C-9E42-8728-ABEA4DB00730}"/>
                </a:ext>
              </a:extLst>
            </p:cNvPr>
            <p:cNvSpPr txBox="1"/>
            <p:nvPr/>
          </p:nvSpPr>
          <p:spPr>
            <a:xfrm>
              <a:off x="5987842" y="1097500"/>
              <a:ext cx="2322348" cy="4110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900"/>
                </a:spcBef>
                <a:buClr>
                  <a:schemeClr val="accent5"/>
                </a:buClr>
                <a:buSzPct val="140000"/>
              </a:pPr>
              <a:r>
                <a:rPr lang="en-GB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With DC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D734-6595-9D43-BB8C-4F20F612553F}"/>
                </a:ext>
              </a:extLst>
            </p:cNvPr>
            <p:cNvSpPr/>
            <p:nvPr/>
          </p:nvSpPr>
          <p:spPr>
            <a:xfrm>
              <a:off x="5938011" y="1516655"/>
              <a:ext cx="3338723" cy="3523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20min </a:t>
              </a:r>
              <a:r>
                <a:rPr lang="en-GB" sz="16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 applicant farmer</a:t>
              </a: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48C6D8CA-BAAD-4A48-9902-1BFC47498987}"/>
              </a:ext>
            </a:extLst>
          </p:cNvPr>
          <p:cNvSpPr/>
          <p:nvPr/>
        </p:nvSpPr>
        <p:spPr>
          <a:xfrm>
            <a:off x="4524015" y="6401005"/>
            <a:ext cx="759933" cy="352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4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mi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0459D5A-D6A8-CA4E-AB63-45758F91F80B}"/>
              </a:ext>
            </a:extLst>
          </p:cNvPr>
          <p:cNvSpPr/>
          <p:nvPr/>
        </p:nvSpPr>
        <p:spPr>
          <a:xfrm>
            <a:off x="2297426" y="5107768"/>
            <a:ext cx="1291736" cy="48391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4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taneous to interview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3E2E613-1832-A043-9E0D-6E59874A1A7A}"/>
              </a:ext>
            </a:extLst>
          </p:cNvPr>
          <p:cNvSpPr/>
          <p:nvPr/>
        </p:nvSpPr>
        <p:spPr>
          <a:xfrm>
            <a:off x="3984774" y="5107768"/>
            <a:ext cx="1291736" cy="48391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4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taneous to interview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BC10F0-612C-A746-9CAA-82A16B9EED3A}"/>
              </a:ext>
            </a:extLst>
          </p:cNvPr>
          <p:cNvSpPr/>
          <p:nvPr/>
        </p:nvSpPr>
        <p:spPr>
          <a:xfrm>
            <a:off x="880" y="0"/>
            <a:ext cx="2756451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Component</a:t>
            </a:r>
          </a:p>
        </p:txBody>
      </p:sp>
    </p:spTree>
    <p:extLst>
      <p:ext uri="{BB962C8B-B14F-4D97-AF65-F5344CB8AC3E}">
        <p14:creationId xmlns:p14="http://schemas.microsoft.com/office/powerpoint/2010/main" val="1161611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3" y="1787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22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70" name="Object 6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3" y="1787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 hidden="1"/>
          <p:cNvSpPr/>
          <p:nvPr>
            <p:custDataLst>
              <p:tags r:id="rId3"/>
            </p:custDataLst>
          </p:nvPr>
        </p:nvSpPr>
        <p:spPr bwMode="auto">
          <a:xfrm>
            <a:off x="826" y="0"/>
            <a:ext cx="178547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000" b="1" dirty="0">
              <a:solidFill>
                <a:schemeClr val="tx1"/>
              </a:solidFill>
              <a:latin typeface="Axiforma"/>
              <a:cs typeface="Arial"/>
              <a:sym typeface="Axiforma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1DA8971-0AB4-4BB0-943C-CADD105CD90E}"/>
              </a:ext>
            </a:extLst>
          </p:cNvPr>
          <p:cNvSpPr txBox="1">
            <a:spLocks/>
          </p:cNvSpPr>
          <p:nvPr/>
        </p:nvSpPr>
        <p:spPr bwMode="auto">
          <a:xfrm>
            <a:off x="416493" y="609263"/>
            <a:ext cx="8519364" cy="1187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07943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rgbClr val="008C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s created using QGIS have been used in all MGP Steering Technical Committee &amp; SAFPROM Advisory Committee meetings</a:t>
            </a:r>
            <a:endParaRPr lang="en-AU" sz="2400" b="1" dirty="0">
              <a:solidFill>
                <a:srgbClr val="008C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42E7CF-712D-1349-A477-406EC83EE2BA}"/>
              </a:ext>
            </a:extLst>
          </p:cNvPr>
          <p:cNvSpPr/>
          <p:nvPr/>
        </p:nvSpPr>
        <p:spPr>
          <a:xfrm>
            <a:off x="873297" y="2130552"/>
            <a:ext cx="8842030" cy="4780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armer’s GPS Locations &amp; Maps weren’t initially part of the overall project process</a:t>
            </a:r>
          </a:p>
          <a:p>
            <a:pPr lvl="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defRPr/>
            </a:pP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However the maps proved to address some of the other underlaying issues the MAF team had concerns about, such as:</a:t>
            </a:r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isplay the locations &amp; distribution of farmers who were visited and verifie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howing areas where awareness of the project had been strongest/weakest</a:t>
            </a:r>
          </a:p>
          <a:p>
            <a:pPr marL="285750" lvl="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dentify farmers using other people’s lands/farms to claim as their own farm</a:t>
            </a:r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isplay and visualize distribution of farmers based on different agricultural sub-sector (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g.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rops, livestock, fisheries) </a:t>
            </a:r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how geographical progress of verification work and what areas (villages/districts) have been visited as verifications progressed</a:t>
            </a:r>
          </a:p>
          <a:p>
            <a:pPr marL="285750" lvl="0" indent="-285750">
              <a:lnSpc>
                <a:spcPct val="110000"/>
              </a:lnSpc>
              <a:spcAft>
                <a:spcPts val="600"/>
              </a:spcAft>
              <a:buClr>
                <a:srgbClr val="008C44"/>
              </a:buClr>
              <a:buSzPct val="140000"/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5E8FEA-7DCA-E341-8292-79EF3556B624}"/>
              </a:ext>
            </a:extLst>
          </p:cNvPr>
          <p:cNvSpPr/>
          <p:nvPr/>
        </p:nvSpPr>
        <p:spPr>
          <a:xfrm>
            <a:off x="881" y="0"/>
            <a:ext cx="2416642" cy="376822"/>
          </a:xfrm>
          <a:prstGeom prst="rect">
            <a:avLst/>
          </a:prstGeom>
          <a:solidFill>
            <a:srgbClr val="158C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s Overview</a:t>
            </a:r>
          </a:p>
        </p:txBody>
      </p:sp>
    </p:spTree>
    <p:extLst>
      <p:ext uri="{BB962C8B-B14F-4D97-AF65-F5344CB8AC3E}">
        <p14:creationId xmlns:p14="http://schemas.microsoft.com/office/powerpoint/2010/main" val="1771198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B2F69A-E8E9-BC40-B755-883E13108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2776"/>
            <a:ext cx="10080625" cy="755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968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SLIDES" val="-"/>
  <p:tag name="THINKCELLPRESENTATIONDONOTDELETE" val="&lt;?xml version=&quot;1.0&quot; encoding=&quot;UTF-16&quot; standalone=&quot;yes&quot;?&gt;&lt;root reqver=&quot;27037&quot;&gt;&lt;version val=&quot;3075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6&quot;&gt;&lt;elem m_fUsage=&quot;3.52815596014494481381E+00&quot;&gt;&lt;m_msothmcolidx val=&quot;0&quot;/&gt;&lt;m_rgb r=&quot;FD&quot; g=&quot;C0&quot; b=&quot;00&quot;/&gt;&lt;/elem&gt;&lt;elem m_fUsage=&quot;2.61934153357380283822E+00&quot;&gt;&lt;m_msothmcolidx val=&quot;0&quot;/&gt;&lt;m_rgb r=&quot;B7&quot; g=&quot;00&quot; b=&quot;39&quot;/&gt;&lt;/elem&gt;&lt;elem m_fUsage=&quot;1.01768457097566522584E+00&quot;&gt;&lt;m_msothmcolidx val=&quot;0&quot;/&gt;&lt;m_rgb r=&quot;91&quot; g=&quot;D0&quot; b=&quot;51&quot;/&gt;&lt;/elem&gt;&lt;elem m_fUsage=&quot;9.44918572671000100982E-01&quot;&gt;&lt;m_msothmcolidx val=&quot;0&quot;/&gt;&lt;m_rgb r=&quot;B1&quot; g=&quot;D9&quot; b=&quot;AE&quot;/&gt;&lt;/elem&gt;&lt;elem m_fUsage=&quot;4.30467210000000155556E-01&quot;&gt;&lt;m_msothmcolidx val=&quot;0&quot;/&gt;&lt;m_rgb r=&quot;DD&quot; g=&quot;BD&quot; b=&quot;BC&quot;/&gt;&lt;/elem&gt;&lt;elem m_fUsage=&quot;3.87420489000000145552E-01&quot;&gt;&lt;m_msothmcolidx val=&quot;0&quot;/&gt;&lt;m_rgb r=&quot;A9&quot; g=&quot;B6&quot; b=&quot;DB&quot;/&gt;&lt;/elem&gt;&lt;elem m_fUsage=&quot;2.54186582832900132001E-01&quot;&gt;&lt;m_msothmcolidx val=&quot;0&quot;/&gt;&lt;m_rgb r=&quot;94&quot; g=&quot;B8&quot; b=&quot;93&quot;/&gt;&lt;/elem&gt;&lt;elem m_fUsage=&quot;2.28767924549610118801E-01&quot;&gt;&lt;m_msothmcolidx val=&quot;0&quot;/&gt;&lt;m_rgb r=&quot;80&quot; g=&quot;5E&quot; b=&quot;29&quot;/&gt;&lt;/elem&gt;&lt;elem m_fUsage=&quot;1.85302018885184188735E-01&quot;&gt;&lt;m_msothmcolidx val=&quot;0&quot;/&gt;&lt;m_rgb r=&quot;55&quot; g=&quot;8B&quot; b=&quot;AE&quot;/&gt;&lt;/elem&gt;&lt;elem m_fUsage=&quot;1.66771816996665767086E-01&quot;&gt;&lt;m_msothmcolidx val=&quot;0&quot;/&gt;&lt;m_rgb r=&quot;00&quot; g=&quot;49&quot; b=&quot;7A&quot;/&gt;&lt;/elem&gt;&lt;elem m_fUsage=&quot;1.50094635296999207030E-01&quot;&gt;&lt;m_msothmcolidx val=&quot;0&quot;/&gt;&lt;m_rgb r=&quot;22&quot; g=&quot;52&quot; b=&quot;8F&quot;/&gt;&lt;/elem&gt;&lt;elem m_fUsage=&quot;8.18133972126654784862E-02&quot;&gt;&lt;m_msothmcolidx val=&quot;0&quot;/&gt;&lt;m_rgb r=&quot;00&quot; g=&quot;8D&quot; b=&quot;43&quot;/&gt;&lt;/elem&gt;&lt;elem m_fUsage=&quot;5.07528786056416392376E-04&quot;&gt;&lt;m_msothmcolidx val=&quot;0&quot;/&gt;&lt;m_rgb r=&quot;7B&quot; g=&quot;DB&quot; b=&quot;E7&quot;/&gt;&lt;/elem&gt;&lt;elem m_fUsage=&quot;4.56775907450774763981E-04&quot;&gt;&lt;m_msothmcolidx val=&quot;0&quot;/&gt;&lt;m_rgb r=&quot;D3&quot; g=&quot;F3&quot; b=&quot;F7&quot;/&gt;&lt;/elem&gt;&lt;elem m_fUsage=&quot;4.11098316705697298425E-04&quot;&gt;&lt;m_msothmcolidx val=&quot;0&quot;/&gt;&lt;m_rgb r=&quot;9D&quot; g=&quot;E4&quot; b=&quot;EE&quot;/&gt;&lt;/elem&gt;&lt;elem m_fUsage=&quot;3.69988485035127590266E-04&quot;&gt;&lt;m_msothmcolidx val=&quot;0&quot;/&gt;&lt;m_rgb r=&quot;76&quot; g=&quot;D9&quot; b=&quot;E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1_8twBjIqcuCHVuh2z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FiQhWJlXykvufWFj4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Y_o3FMOtCA_JM2PpaB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RRpL7eBH7y9SyfUlfd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N5dvPssefIPlsdXoZQ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jYqOHh9koEfLfnt4Q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gw7jfF0OsfLoLDpEcj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2b6CdQUtHUQEJOJnbE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Rf1zygDZDGdTJRaGQ7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Xm5PIVhnyIasajd_9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LIJBzfta0RrQYiPyvF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XjCy2bf8HVlJag.1CQ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vzrkDvQVWn3D4fk8Xe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cw37caU.BsplKj9xE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cw37caU.BsplKj9xE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whvXxrJbNDJKFxSfpr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cw37caU.BsplKj9xE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gxJ5PYr3vpSWe.7jif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cw37caU.BsplKj9xE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dipE79aQYjhplJ7SHu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xLZtrQQk22XEY64EZ5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ivery Associates v1.0">
  <a:themeElements>
    <a:clrScheme name="Delivery Assocites v1.0">
      <a:dk1>
        <a:srgbClr val="26323E"/>
      </a:dk1>
      <a:lt1>
        <a:srgbClr val="FFFFFF"/>
      </a:lt1>
      <a:dk2>
        <a:srgbClr val="26323E"/>
      </a:dk2>
      <a:lt2>
        <a:srgbClr val="FFFFFF"/>
      </a:lt2>
      <a:accent1>
        <a:srgbClr val="D3D6D8"/>
      </a:accent1>
      <a:accent2>
        <a:srgbClr val="A8ADB2"/>
      </a:accent2>
      <a:accent3>
        <a:srgbClr val="505A65"/>
      </a:accent3>
      <a:accent4>
        <a:srgbClr val="26323E"/>
      </a:accent4>
      <a:accent5>
        <a:srgbClr val="26C0D4"/>
      </a:accent5>
      <a:accent6>
        <a:srgbClr val="FEE900"/>
      </a:accent6>
      <a:hlink>
        <a:srgbClr val="26C0D4"/>
      </a:hlink>
      <a:folHlink>
        <a:srgbClr val="A8ADB2"/>
      </a:folHlink>
    </a:clrScheme>
    <a:fontScheme name="Benutzerdefiniert 3">
      <a:majorFont>
        <a:latin typeface="Axiforma ExtraBold"/>
        <a:ea typeface="Helvetica Light"/>
        <a:cs typeface="Helvetica Light"/>
      </a:majorFont>
      <a:minorFont>
        <a:latin typeface="Axiforma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0" tIns="0" rIns="0" bIns="0" rtlCol="0">
        <a:spAutoFit/>
      </a:bodyPr>
      <a:lstStyle>
        <a:defPPr marL="152400" indent="-152400" algn="l">
          <a:lnSpc>
            <a:spcPct val="110000"/>
          </a:lnSpc>
          <a:spcBef>
            <a:spcPts val="900"/>
          </a:spcBef>
          <a:buClr>
            <a:schemeClr val="accent5"/>
          </a:buClr>
          <a:buSzPct val="140000"/>
          <a:buFont typeface="Arial" panose="020B0604020202020204" pitchFamily="34" charset="0"/>
          <a:buChar char="•"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ne-slide summary on local market survey datapptx" id="{9462F9A2-13A8-764A-BBB8-72EFD43DAE92}" vid="{4A912AD2-4CC7-D047-BD2F-DF0CA9477DE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ivery Associates v1</Template>
  <TotalTime>18640</TotalTime>
  <Words>738</Words>
  <Application>Microsoft Macintosh PowerPoint</Application>
  <PresentationFormat>Custom</PresentationFormat>
  <Paragraphs>96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xiforma</vt:lpstr>
      <vt:lpstr>Axiforma ExtraBold</vt:lpstr>
      <vt:lpstr>Calibri</vt:lpstr>
      <vt:lpstr>Symbol</vt:lpstr>
      <vt:lpstr>Delivery Associates v1.0</vt:lpstr>
      <vt:lpstr>think-cell Slide</vt:lpstr>
      <vt:lpstr>GIS often branches into many different sectors</vt:lpstr>
      <vt:lpstr>…but there is value in coming together from time to time to learn from each other</vt:lpstr>
      <vt:lpstr>In comparison to recent Q1s, taro exports are solid</vt:lpstr>
      <vt:lpstr>PowerPoint Presentation</vt:lpstr>
      <vt:lpstr>PowerPoint Presentation</vt:lpstr>
      <vt:lpstr>Digital Component allowed for faster data collection (saved the ministry time and resource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Sector data update  [30] July 2020</dc:title>
  <dc:subject/>
  <dc:creator>Josh Wright</dc:creator>
  <cp:keywords/>
  <dc:description/>
  <cp:lastModifiedBy>To'oa Brown</cp:lastModifiedBy>
  <cp:revision>208</cp:revision>
  <cp:lastPrinted>2017-12-09T23:40:49Z</cp:lastPrinted>
  <dcterms:created xsi:type="dcterms:W3CDTF">2020-07-21T11:10:06Z</dcterms:created>
  <dcterms:modified xsi:type="dcterms:W3CDTF">2020-11-19T04:50:18Z</dcterms:modified>
  <cp:category/>
</cp:coreProperties>
</file>